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39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AB-4019-9F5A-EA81CCC028D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AB-4019-9F5A-EA81CCC028D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AB-4019-9F5A-EA81CCC028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37382943"/>
        <c:axId val="1"/>
      </c:barChart>
      <c:catAx>
        <c:axId val="3373829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496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7382943"/>
        <c:crosses val="autoZero"/>
        <c:crossBetween val="between"/>
      </c:valAx>
      <c:spPr>
        <a:noFill/>
        <a:ln w="25324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790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3C20D-CEEE-6CB4-7DD8-BAD1FB4A3B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92B4F74-3931-4F44-5CEF-36185A5A60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2B4F74-3931-4F44-5CEF-36185A5A60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C3E393A-52D5-D699-33C8-DA7830F4F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9BA1C1B-3D10-6429-A7A1-40A248B61570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29" name="Chart 33">
            <a:extLst>
              <a:ext uri="{FF2B5EF4-FFF2-40B4-BE49-F238E27FC236}">
                <a16:creationId xmlns:a16="http://schemas.microsoft.com/office/drawing/2014/main" id="{158086E3-36ED-9554-03E5-B3EEC9085B48}"/>
              </a:ext>
            </a:extLst>
          </p:cNvPr>
          <p:cNvGraphicFramePr>
            <a:graphicFrameLocks/>
          </p:cNvGraphicFramePr>
          <p:nvPr/>
        </p:nvGraphicFramePr>
        <p:xfrm>
          <a:off x="721520" y="4235817"/>
          <a:ext cx="16849725" cy="52268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4900124-CECF-478A-6A3A-2E3E1C7B0162}"/>
              </a:ext>
            </a:extLst>
          </p:cNvPr>
          <p:cNvCxnSpPr/>
          <p:nvPr/>
        </p:nvCxnSpPr>
        <p:spPr>
          <a:xfrm flipV="1">
            <a:off x="2294066" y="3688130"/>
            <a:ext cx="0" cy="21336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16D5663A-E8CF-6E18-22BF-CA17985BEDD0}"/>
              </a:ext>
            </a:extLst>
          </p:cNvPr>
          <p:cNvCxnSpPr/>
          <p:nvPr/>
        </p:nvCxnSpPr>
        <p:spPr>
          <a:xfrm flipV="1">
            <a:off x="3187034" y="2590373"/>
            <a:ext cx="0" cy="4298157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97BC72D-3AA2-4E7C-4F9C-9F8CAB79CFBD}"/>
              </a:ext>
            </a:extLst>
          </p:cNvPr>
          <p:cNvCxnSpPr/>
          <p:nvPr/>
        </p:nvCxnSpPr>
        <p:spPr>
          <a:xfrm flipV="1">
            <a:off x="4079082" y="3688130"/>
            <a:ext cx="0" cy="3443288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1CE522D-0453-9B9C-C3F6-35BD4734086C}"/>
              </a:ext>
            </a:extLst>
          </p:cNvPr>
          <p:cNvCxnSpPr/>
          <p:nvPr/>
        </p:nvCxnSpPr>
        <p:spPr>
          <a:xfrm flipV="1">
            <a:off x="6336047" y="3688130"/>
            <a:ext cx="0" cy="32004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0D3D1723-3841-0B50-2E9C-F1AA2BADA267}"/>
              </a:ext>
            </a:extLst>
          </p:cNvPr>
          <p:cNvCxnSpPr/>
          <p:nvPr/>
        </p:nvCxnSpPr>
        <p:spPr>
          <a:xfrm flipV="1">
            <a:off x="7241382" y="2590373"/>
            <a:ext cx="0" cy="2986088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1BA848C-B6F2-177E-D1F1-1544BFB07DD2}"/>
              </a:ext>
            </a:extLst>
          </p:cNvPr>
          <p:cNvCxnSpPr/>
          <p:nvPr/>
        </p:nvCxnSpPr>
        <p:spPr>
          <a:xfrm flipV="1">
            <a:off x="8142876" y="3688130"/>
            <a:ext cx="0" cy="3443288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908C38CE-F323-6378-AFF4-5050EA32B9C5}"/>
              </a:ext>
            </a:extLst>
          </p:cNvPr>
          <p:cNvCxnSpPr/>
          <p:nvPr/>
        </p:nvCxnSpPr>
        <p:spPr>
          <a:xfrm flipV="1">
            <a:off x="10402221" y="3688130"/>
            <a:ext cx="0" cy="249793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F0F624B-E1AC-C126-5D1B-6A61FA51ADCB}"/>
              </a:ext>
            </a:extLst>
          </p:cNvPr>
          <p:cNvCxnSpPr/>
          <p:nvPr/>
        </p:nvCxnSpPr>
        <p:spPr>
          <a:xfrm flipV="1">
            <a:off x="11281902" y="2590373"/>
            <a:ext cx="0" cy="4736307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3FEAF5F-97B4-F46A-C261-64958D0ED59D}"/>
              </a:ext>
            </a:extLst>
          </p:cNvPr>
          <p:cNvCxnSpPr/>
          <p:nvPr/>
        </p:nvCxnSpPr>
        <p:spPr>
          <a:xfrm flipV="1">
            <a:off x="12184857" y="3688130"/>
            <a:ext cx="0" cy="2831306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ED8E9CCA-6DBC-6A7B-15CB-45048BD09CCB}"/>
              </a:ext>
            </a:extLst>
          </p:cNvPr>
          <p:cNvCxnSpPr/>
          <p:nvPr/>
        </p:nvCxnSpPr>
        <p:spPr>
          <a:xfrm flipV="1">
            <a:off x="14440361" y="3688130"/>
            <a:ext cx="0" cy="186928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1A4B209-5FE0-0248-ACCA-8B856C000393}"/>
              </a:ext>
            </a:extLst>
          </p:cNvPr>
          <p:cNvCxnSpPr/>
          <p:nvPr/>
        </p:nvCxnSpPr>
        <p:spPr>
          <a:xfrm flipV="1">
            <a:off x="15345696" y="2590373"/>
            <a:ext cx="0" cy="3988595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0D11E4B4-4E05-CAB4-6DEB-3597B91627FB}"/>
              </a:ext>
            </a:extLst>
          </p:cNvPr>
          <p:cNvCxnSpPr/>
          <p:nvPr/>
        </p:nvCxnSpPr>
        <p:spPr>
          <a:xfrm flipV="1">
            <a:off x="16236284" y="3688130"/>
            <a:ext cx="0" cy="1445418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FAFCAD28-1F5F-41B8-CFAA-C7D13E9E904E}"/>
              </a:ext>
            </a:extLst>
          </p:cNvPr>
          <p:cNvSpPr txBox="1"/>
          <p:nvPr/>
        </p:nvSpPr>
        <p:spPr>
          <a:xfrm>
            <a:off x="1670681" y="3042810"/>
            <a:ext cx="1245393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fr-FR" sz="2700" b="1" dirty="0"/>
              <a:t>40%</a:t>
            </a:r>
            <a:endParaRPr lang="en-US" sz="2700" b="1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7BBF228-F499-87C2-0011-B88EA539C025}"/>
              </a:ext>
            </a:extLst>
          </p:cNvPr>
          <p:cNvSpPr txBox="1"/>
          <p:nvPr/>
        </p:nvSpPr>
        <p:spPr>
          <a:xfrm>
            <a:off x="2677409" y="1945701"/>
            <a:ext cx="1245393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fr-FR" sz="2700" b="1" dirty="0"/>
              <a:t>50%</a:t>
            </a:r>
            <a:endParaRPr lang="en-US" sz="2700" b="1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504C932-A0FC-4133-D85E-4AC124AE0FF7}"/>
              </a:ext>
            </a:extLst>
          </p:cNvPr>
          <p:cNvSpPr txBox="1"/>
          <p:nvPr/>
        </p:nvSpPr>
        <p:spPr>
          <a:xfrm>
            <a:off x="3528745" y="3033285"/>
            <a:ext cx="1245395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fr-FR" sz="2700" b="1" dirty="0"/>
              <a:t>30%</a:t>
            </a:r>
            <a:endParaRPr lang="en-US" sz="2700" b="1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1855AFD-F0D2-0EF6-77F4-C8812F4FC00C}"/>
              </a:ext>
            </a:extLst>
          </p:cNvPr>
          <p:cNvSpPr txBox="1"/>
          <p:nvPr/>
        </p:nvSpPr>
        <p:spPr>
          <a:xfrm>
            <a:off x="5711199" y="3043124"/>
            <a:ext cx="1245393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fr-FR" sz="2700" b="1" dirty="0"/>
              <a:t>60%</a:t>
            </a:r>
            <a:endParaRPr lang="en-US" sz="2700" b="1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504A188-1413-4FD3-1529-3AABA8081B2C}"/>
              </a:ext>
            </a:extLst>
          </p:cNvPr>
          <p:cNvSpPr txBox="1"/>
          <p:nvPr/>
        </p:nvSpPr>
        <p:spPr>
          <a:xfrm>
            <a:off x="7569264" y="3033285"/>
            <a:ext cx="1245393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fr-FR" sz="2700" b="1" dirty="0"/>
              <a:t>80%</a:t>
            </a:r>
            <a:endParaRPr lang="en-US" sz="2700" b="1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BF1B5F4-B5B8-E3C6-27ED-14F36FD4981F}"/>
              </a:ext>
            </a:extLst>
          </p:cNvPr>
          <p:cNvSpPr txBox="1"/>
          <p:nvPr/>
        </p:nvSpPr>
        <p:spPr>
          <a:xfrm>
            <a:off x="6661317" y="1941267"/>
            <a:ext cx="1247775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fr-FR" sz="2700" b="1" dirty="0"/>
              <a:t>90%</a:t>
            </a:r>
            <a:endParaRPr lang="en-US" sz="2700" b="1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B68581A-E40D-9228-C994-555373E0981D}"/>
              </a:ext>
            </a:extLst>
          </p:cNvPr>
          <p:cNvSpPr txBox="1"/>
          <p:nvPr/>
        </p:nvSpPr>
        <p:spPr>
          <a:xfrm>
            <a:off x="10585483" y="1941267"/>
            <a:ext cx="1500188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fr-FR" sz="2700" b="1" dirty="0"/>
              <a:t>100%</a:t>
            </a:r>
            <a:endParaRPr lang="en-US" sz="2700" b="1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E9F3BFC-DD68-16CD-26D3-9B124CD67693}"/>
              </a:ext>
            </a:extLst>
          </p:cNvPr>
          <p:cNvSpPr txBox="1"/>
          <p:nvPr/>
        </p:nvSpPr>
        <p:spPr>
          <a:xfrm>
            <a:off x="9767156" y="3043124"/>
            <a:ext cx="1245395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fr-FR" sz="2700" b="1" dirty="0"/>
              <a:t>80%</a:t>
            </a:r>
            <a:endParaRPr lang="en-US" sz="2700" b="1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57F737B-7FAB-FE46-94C6-746CB03DE9E4}"/>
              </a:ext>
            </a:extLst>
          </p:cNvPr>
          <p:cNvSpPr txBox="1"/>
          <p:nvPr/>
        </p:nvSpPr>
        <p:spPr>
          <a:xfrm>
            <a:off x="11572418" y="3033285"/>
            <a:ext cx="1245393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fr-FR" sz="2700" b="1" dirty="0"/>
              <a:t>30%</a:t>
            </a:r>
            <a:endParaRPr lang="en-US" sz="2700" b="1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CC78EDE-F4C7-8DBA-65F8-5506CBE28291}"/>
              </a:ext>
            </a:extLst>
          </p:cNvPr>
          <p:cNvSpPr txBox="1"/>
          <p:nvPr/>
        </p:nvSpPr>
        <p:spPr>
          <a:xfrm>
            <a:off x="13818506" y="3043124"/>
            <a:ext cx="1245393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fr-FR" sz="2700" b="1" dirty="0"/>
              <a:t>20%</a:t>
            </a:r>
            <a:endParaRPr lang="en-US" sz="2700" b="1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EE49432-2BF3-5A95-4BCE-907A017A70C4}"/>
              </a:ext>
            </a:extLst>
          </p:cNvPr>
          <p:cNvSpPr txBox="1"/>
          <p:nvPr/>
        </p:nvSpPr>
        <p:spPr>
          <a:xfrm>
            <a:off x="14722999" y="1938284"/>
            <a:ext cx="1245395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fr-FR" sz="2700" b="1" dirty="0"/>
              <a:t>10%</a:t>
            </a:r>
            <a:endParaRPr lang="en-US" sz="2700" b="1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F6E9525-9168-BABA-65A2-7BD696715671}"/>
              </a:ext>
            </a:extLst>
          </p:cNvPr>
          <p:cNvSpPr txBox="1"/>
          <p:nvPr/>
        </p:nvSpPr>
        <p:spPr>
          <a:xfrm>
            <a:off x="15627144" y="3033285"/>
            <a:ext cx="1247775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fr-FR" sz="2700" b="1" dirty="0"/>
              <a:t>80%</a:t>
            </a:r>
            <a:endParaRPr lang="en-US" sz="2700" b="1" dirty="0"/>
          </a:p>
        </p:txBody>
      </p:sp>
    </p:spTree>
    <p:extLst>
      <p:ext uri="{BB962C8B-B14F-4D97-AF65-F5344CB8AC3E}">
        <p14:creationId xmlns:p14="http://schemas.microsoft.com/office/powerpoint/2010/main" val="22922173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59</TotalTime>
  <Words>27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Cluster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85</cp:revision>
  <dcterms:created xsi:type="dcterms:W3CDTF">2006-08-16T00:00:00Z</dcterms:created>
  <dcterms:modified xsi:type="dcterms:W3CDTF">2025-10-06T10:04:29Z</dcterms:modified>
  <cp:category/>
  <dc:identifier>DAGkDf5R9EM</dc:identifier>
</cp:coreProperties>
</file>